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2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84B6A5-2AEB-7DB1-EE04-1A1767D9B2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75C1DB4-5A5B-F45E-7A8E-96B738336D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5C1DB4-5A5B-F45E-7A8E-96B738336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92D56F-94D6-1AE2-F115-4202C3331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F547BD-982A-2E7B-AC83-4211F3D76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22" name="AutoShape 18">
            <a:extLst>
              <a:ext uri="{FF2B5EF4-FFF2-40B4-BE49-F238E27FC236}">
                <a16:creationId xmlns:a16="http://schemas.microsoft.com/office/drawing/2014/main" id="{598B4920-9963-BBBF-AC6B-4229490F439A}"/>
              </a:ext>
            </a:extLst>
          </p:cNvPr>
          <p:cNvSpPr>
            <a:spLocks/>
          </p:cNvSpPr>
          <p:nvPr/>
        </p:nvSpPr>
        <p:spPr bwMode="auto">
          <a:xfrm rot="10800000">
            <a:off x="4329704" y="1788093"/>
            <a:ext cx="3535218" cy="1184613"/>
          </a:xfrm>
          <a:custGeom>
            <a:avLst/>
            <a:gdLst>
              <a:gd name="T0" fmla="*/ 10800 w 21600"/>
              <a:gd name="T1" fmla="+- 0 12261 2923"/>
              <a:gd name="T2" fmla="*/ 12261 h 18677"/>
              <a:gd name="T3" fmla="*/ 10800 w 21600"/>
              <a:gd name="T4" fmla="+- 0 12261 2923"/>
              <a:gd name="T5" fmla="*/ 12261 h 18677"/>
              <a:gd name="T6" fmla="*/ 10800 w 21600"/>
              <a:gd name="T7" fmla="+- 0 12261 2923"/>
              <a:gd name="T8" fmla="*/ 12261 h 18677"/>
              <a:gd name="T9" fmla="*/ 10800 w 21600"/>
              <a:gd name="T10" fmla="+- 0 12261 2923"/>
              <a:gd name="T11" fmla="*/ 12261 h 18677"/>
            </a:gdLst>
            <a:ahLst/>
            <a:cxnLst>
              <a:cxn ang="0">
                <a:pos x="T0" y="T2"/>
              </a:cxn>
              <a:cxn ang="0">
                <a:pos x="T3" y="T5"/>
              </a:cxn>
              <a:cxn ang="0">
                <a:pos x="T6" y="T8"/>
              </a:cxn>
              <a:cxn ang="0">
                <a:pos x="T9" y="T11"/>
              </a:cxn>
            </a:cxnLst>
            <a:rect l="0" t="0" r="r" b="b"/>
            <a:pathLst>
              <a:path w="21600" h="18677">
                <a:moveTo>
                  <a:pt x="0" y="18677"/>
                </a:moveTo>
                <a:cubicBezTo>
                  <a:pt x="565" y="14923"/>
                  <a:pt x="1448" y="11555"/>
                  <a:pt x="2560" y="8730"/>
                </a:cubicBezTo>
                <a:cubicBezTo>
                  <a:pt x="7135" y="-2897"/>
                  <a:pt x="14475" y="-2923"/>
                  <a:pt x="19040" y="8730"/>
                </a:cubicBezTo>
                <a:cubicBezTo>
                  <a:pt x="20185" y="11651"/>
                  <a:pt x="21048" y="15035"/>
                  <a:pt x="21600" y="18677"/>
                </a:cubicBezTo>
              </a:path>
            </a:pathLst>
          </a:custGeom>
          <a:noFill/>
          <a:ln w="50800" cap="flat" cmpd="sng">
            <a:solidFill>
              <a:schemeClr val="accent6"/>
            </a:solidFill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23" name="Oval 19">
            <a:extLst>
              <a:ext uri="{FF2B5EF4-FFF2-40B4-BE49-F238E27FC236}">
                <a16:creationId xmlns:a16="http://schemas.microsoft.com/office/drawing/2014/main" id="{85D4AC8B-D418-0FD9-1A8B-435501BF1CDF}"/>
              </a:ext>
            </a:extLst>
          </p:cNvPr>
          <p:cNvSpPr>
            <a:spLocks/>
          </p:cNvSpPr>
          <p:nvPr/>
        </p:nvSpPr>
        <p:spPr bwMode="auto">
          <a:xfrm rot="10800000">
            <a:off x="5981017" y="2862434"/>
            <a:ext cx="232592" cy="232582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24" name="Oval 21">
            <a:extLst>
              <a:ext uri="{FF2B5EF4-FFF2-40B4-BE49-F238E27FC236}">
                <a16:creationId xmlns:a16="http://schemas.microsoft.com/office/drawing/2014/main" id="{F6D8942B-B9A3-495F-CC24-53066F2A9064}"/>
              </a:ext>
            </a:extLst>
          </p:cNvPr>
          <p:cNvSpPr>
            <a:spLocks/>
          </p:cNvSpPr>
          <p:nvPr/>
        </p:nvSpPr>
        <p:spPr bwMode="auto">
          <a:xfrm rot="10800000">
            <a:off x="7095646" y="2499924"/>
            <a:ext cx="232592" cy="232582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25" name="Oval 23">
            <a:extLst>
              <a:ext uri="{FF2B5EF4-FFF2-40B4-BE49-F238E27FC236}">
                <a16:creationId xmlns:a16="http://schemas.microsoft.com/office/drawing/2014/main" id="{F729D0B2-DCCD-C435-AE32-0341373C0DEC}"/>
              </a:ext>
            </a:extLst>
          </p:cNvPr>
          <p:cNvSpPr>
            <a:spLocks/>
          </p:cNvSpPr>
          <p:nvPr/>
        </p:nvSpPr>
        <p:spPr bwMode="auto">
          <a:xfrm rot="10800000">
            <a:off x="4866389" y="2499924"/>
            <a:ext cx="232592" cy="23258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BBE9D385-E5FC-F64A-5452-B5F20BE4F921}"/>
              </a:ext>
            </a:extLst>
          </p:cNvPr>
          <p:cNvSpPr>
            <a:spLocks/>
          </p:cNvSpPr>
          <p:nvPr/>
        </p:nvSpPr>
        <p:spPr bwMode="auto">
          <a:xfrm rot="10800000">
            <a:off x="4178133" y="1556314"/>
            <a:ext cx="232592" cy="23258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27" name="Oval 27">
            <a:extLst>
              <a:ext uri="{FF2B5EF4-FFF2-40B4-BE49-F238E27FC236}">
                <a16:creationId xmlns:a16="http://schemas.microsoft.com/office/drawing/2014/main" id="{10FF5FF7-8AD6-BCC3-0BBA-AB716C98324C}"/>
              </a:ext>
            </a:extLst>
          </p:cNvPr>
          <p:cNvSpPr>
            <a:spLocks/>
          </p:cNvSpPr>
          <p:nvPr/>
        </p:nvSpPr>
        <p:spPr bwMode="auto">
          <a:xfrm rot="10800000">
            <a:off x="7783903" y="1556314"/>
            <a:ext cx="232592" cy="232582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28" name="AutoShape 31">
            <a:extLst>
              <a:ext uri="{FF2B5EF4-FFF2-40B4-BE49-F238E27FC236}">
                <a16:creationId xmlns:a16="http://schemas.microsoft.com/office/drawing/2014/main" id="{18CFC6B2-EC76-F984-2D9A-80A966E1CAC1}"/>
              </a:ext>
            </a:extLst>
          </p:cNvPr>
          <p:cNvSpPr>
            <a:spLocks/>
          </p:cNvSpPr>
          <p:nvPr/>
        </p:nvSpPr>
        <p:spPr bwMode="auto">
          <a:xfrm rot="10800000">
            <a:off x="5488095" y="3231401"/>
            <a:ext cx="1218436" cy="1369357"/>
          </a:xfrm>
          <a:custGeom>
            <a:avLst/>
            <a:gdLst>
              <a:gd name="T0" fmla="+- 0 10800 961"/>
              <a:gd name="T1" fmla="*/ T0 w 19679"/>
              <a:gd name="T2" fmla="*/ 10800 h 21600"/>
              <a:gd name="T3" fmla="+- 0 10800 961"/>
              <a:gd name="T4" fmla="*/ T3 w 19679"/>
              <a:gd name="T5" fmla="*/ 10800 h 21600"/>
              <a:gd name="T6" fmla="+- 0 10800 961"/>
              <a:gd name="T7" fmla="*/ T6 w 19679"/>
              <a:gd name="T8" fmla="*/ 10800 h 21600"/>
              <a:gd name="T9" fmla="+- 0 10800 961"/>
              <a:gd name="T10" fmla="*/ T9 w 19679"/>
              <a:gd name="T11" fmla="*/ 10800 h 21600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</a:cxnLst>
            <a:rect l="0" t="0" r="r" b="b"/>
            <a:pathLst>
              <a:path w="19679" h="21600">
                <a:moveTo>
                  <a:pt x="9839" y="0"/>
                </a:moveTo>
                <a:cubicBezTo>
                  <a:pt x="7321" y="0"/>
                  <a:pt x="4803" y="937"/>
                  <a:pt x="2882" y="2813"/>
                </a:cubicBezTo>
                <a:cubicBezTo>
                  <a:pt x="-961" y="6566"/>
                  <a:pt x="-961" y="12653"/>
                  <a:pt x="2882" y="16406"/>
                </a:cubicBezTo>
                <a:cubicBezTo>
                  <a:pt x="4480" y="17967"/>
                  <a:pt x="6493" y="18867"/>
                  <a:pt x="8574" y="19129"/>
                </a:cubicBezTo>
                <a:lnTo>
                  <a:pt x="9839" y="21600"/>
                </a:lnTo>
                <a:lnTo>
                  <a:pt x="11104" y="19129"/>
                </a:lnTo>
                <a:cubicBezTo>
                  <a:pt x="13185" y="18867"/>
                  <a:pt x="15198" y="17967"/>
                  <a:pt x="16796" y="16406"/>
                </a:cubicBezTo>
                <a:cubicBezTo>
                  <a:pt x="20639" y="12653"/>
                  <a:pt x="20639" y="6566"/>
                  <a:pt x="16796" y="2813"/>
                </a:cubicBezTo>
                <a:cubicBezTo>
                  <a:pt x="14875" y="937"/>
                  <a:pt x="12357" y="0"/>
                  <a:pt x="9839" y="0"/>
                </a:cubicBezTo>
                <a:close/>
                <a:moveTo>
                  <a:pt x="9839" y="2266"/>
                </a:moveTo>
                <a:cubicBezTo>
                  <a:pt x="11763" y="2266"/>
                  <a:pt x="13686" y="2983"/>
                  <a:pt x="15154" y="4417"/>
                </a:cubicBezTo>
                <a:cubicBezTo>
                  <a:pt x="18090" y="7284"/>
                  <a:pt x="18090" y="11935"/>
                  <a:pt x="15154" y="14802"/>
                </a:cubicBezTo>
                <a:cubicBezTo>
                  <a:pt x="12218" y="17670"/>
                  <a:pt x="7460" y="17670"/>
                  <a:pt x="4524" y="14802"/>
                </a:cubicBezTo>
                <a:cubicBezTo>
                  <a:pt x="1588" y="11935"/>
                  <a:pt x="1588" y="7284"/>
                  <a:pt x="4524" y="4417"/>
                </a:cubicBezTo>
                <a:cubicBezTo>
                  <a:pt x="5992" y="2983"/>
                  <a:pt x="7915" y="2266"/>
                  <a:pt x="9839" y="226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29" name="AutoShape 32">
            <a:extLst>
              <a:ext uri="{FF2B5EF4-FFF2-40B4-BE49-F238E27FC236}">
                <a16:creationId xmlns:a16="http://schemas.microsoft.com/office/drawing/2014/main" id="{E49D4CCA-80E1-BE42-F84E-5903A3C6117E}"/>
              </a:ext>
            </a:extLst>
          </p:cNvPr>
          <p:cNvSpPr>
            <a:spLocks/>
          </p:cNvSpPr>
          <p:nvPr/>
        </p:nvSpPr>
        <p:spPr bwMode="auto">
          <a:xfrm rot="10800000">
            <a:off x="3784359" y="2826417"/>
            <a:ext cx="1218717" cy="1230460"/>
          </a:xfrm>
          <a:custGeom>
            <a:avLst/>
            <a:gdLst>
              <a:gd name="T0" fmla="+- 0 10800 792"/>
              <a:gd name="T1" fmla="*/ T0 w 20016"/>
              <a:gd name="T2" fmla="+- 0 10781 17"/>
              <a:gd name="T3" fmla="*/ 10781 h 21529"/>
              <a:gd name="T4" fmla="+- 0 10800 792"/>
              <a:gd name="T5" fmla="*/ T4 w 20016"/>
              <a:gd name="T6" fmla="+- 0 10781 17"/>
              <a:gd name="T7" fmla="*/ 10781 h 21529"/>
              <a:gd name="T8" fmla="+- 0 10800 792"/>
              <a:gd name="T9" fmla="*/ T8 w 20016"/>
              <a:gd name="T10" fmla="+- 0 10781 17"/>
              <a:gd name="T11" fmla="*/ 10781 h 21529"/>
              <a:gd name="T12" fmla="+- 0 10800 792"/>
              <a:gd name="T13" fmla="*/ T12 w 20016"/>
              <a:gd name="T14" fmla="+- 0 10781 17"/>
              <a:gd name="T15" fmla="*/ 10781 h 2152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20016" h="21529">
                <a:moveTo>
                  <a:pt x="10331" y="5"/>
                </a:moveTo>
                <a:cubicBezTo>
                  <a:pt x="9667" y="-17"/>
                  <a:pt x="8989" y="33"/>
                  <a:pt x="8308" y="158"/>
                </a:cubicBezTo>
                <a:cubicBezTo>
                  <a:pt x="2862" y="1158"/>
                  <a:pt x="-792" y="6675"/>
                  <a:pt x="147" y="12476"/>
                </a:cubicBezTo>
                <a:cubicBezTo>
                  <a:pt x="538" y="14890"/>
                  <a:pt x="1668" y="16959"/>
                  <a:pt x="3240" y="18497"/>
                </a:cubicBezTo>
                <a:lnTo>
                  <a:pt x="2807" y="21529"/>
                </a:lnTo>
                <a:lnTo>
                  <a:pt x="5343" y="20080"/>
                </a:lnTo>
                <a:cubicBezTo>
                  <a:pt x="7229" y="21143"/>
                  <a:pt x="9442" y="21583"/>
                  <a:pt x="11708" y="21167"/>
                </a:cubicBezTo>
                <a:cubicBezTo>
                  <a:pt x="17154" y="20166"/>
                  <a:pt x="20808" y="14650"/>
                  <a:pt x="19869" y="8848"/>
                </a:cubicBezTo>
                <a:cubicBezTo>
                  <a:pt x="19399" y="5947"/>
                  <a:pt x="17869" y="3527"/>
                  <a:pt x="15777" y="1954"/>
                </a:cubicBezTo>
                <a:cubicBezTo>
                  <a:pt x="14207" y="774"/>
                  <a:pt x="12325" y="71"/>
                  <a:pt x="10331" y="5"/>
                </a:cubicBezTo>
                <a:close/>
                <a:moveTo>
                  <a:pt x="10255" y="2519"/>
                </a:moveTo>
                <a:cubicBezTo>
                  <a:pt x="13809" y="2636"/>
                  <a:pt x="16915" y="5399"/>
                  <a:pt x="17543" y="9278"/>
                </a:cubicBezTo>
                <a:cubicBezTo>
                  <a:pt x="18260" y="13710"/>
                  <a:pt x="15469" y="17924"/>
                  <a:pt x="11308" y="18689"/>
                </a:cubicBezTo>
                <a:cubicBezTo>
                  <a:pt x="7147" y="19453"/>
                  <a:pt x="3191" y="16479"/>
                  <a:pt x="2473" y="12047"/>
                </a:cubicBezTo>
                <a:cubicBezTo>
                  <a:pt x="1756" y="7614"/>
                  <a:pt x="4547" y="3400"/>
                  <a:pt x="8708" y="2636"/>
                </a:cubicBezTo>
                <a:cubicBezTo>
                  <a:pt x="9228" y="2540"/>
                  <a:pt x="9747" y="2502"/>
                  <a:pt x="10255" y="251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30" name="AutoShape 33">
            <a:extLst>
              <a:ext uri="{FF2B5EF4-FFF2-40B4-BE49-F238E27FC236}">
                <a16:creationId xmlns:a16="http://schemas.microsoft.com/office/drawing/2014/main" id="{C5C13182-5143-8DB5-CD9C-74C2A0A74561}"/>
              </a:ext>
            </a:extLst>
          </p:cNvPr>
          <p:cNvSpPr>
            <a:spLocks/>
          </p:cNvSpPr>
          <p:nvPr/>
        </p:nvSpPr>
        <p:spPr bwMode="auto">
          <a:xfrm rot="10800000">
            <a:off x="7202024" y="2824336"/>
            <a:ext cx="1218666" cy="1218549"/>
          </a:xfrm>
          <a:custGeom>
            <a:avLst/>
            <a:gdLst>
              <a:gd name="T0" fmla="+- 0 10800 687"/>
              <a:gd name="T1" fmla="*/ T0 w 20226"/>
              <a:gd name="T2" fmla="+- 0 10727 93"/>
              <a:gd name="T3" fmla="*/ 10727 h 21268"/>
              <a:gd name="T4" fmla="+- 0 10800 687"/>
              <a:gd name="T5" fmla="*/ T4 w 20226"/>
              <a:gd name="T6" fmla="+- 0 10727 93"/>
              <a:gd name="T7" fmla="*/ 10727 h 21268"/>
              <a:gd name="T8" fmla="+- 0 10800 687"/>
              <a:gd name="T9" fmla="*/ T8 w 20226"/>
              <a:gd name="T10" fmla="+- 0 10727 93"/>
              <a:gd name="T11" fmla="*/ 10727 h 21268"/>
              <a:gd name="T12" fmla="+- 0 10800 687"/>
              <a:gd name="T13" fmla="*/ T12 w 20226"/>
              <a:gd name="T14" fmla="+- 0 10727 93"/>
              <a:gd name="T15" fmla="*/ 10727 h 21268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20226" h="21268">
                <a:moveTo>
                  <a:pt x="10512" y="9"/>
                </a:moveTo>
                <a:cubicBezTo>
                  <a:pt x="8123" y="-93"/>
                  <a:pt x="5858" y="702"/>
                  <a:pt x="4046" y="2130"/>
                </a:cubicBezTo>
                <a:cubicBezTo>
                  <a:pt x="1976" y="3763"/>
                  <a:pt x="497" y="6225"/>
                  <a:pt x="103" y="9132"/>
                </a:cubicBezTo>
                <a:cubicBezTo>
                  <a:pt x="-687" y="14945"/>
                  <a:pt x="3158" y="20331"/>
                  <a:pt x="8687" y="21162"/>
                </a:cubicBezTo>
                <a:cubicBezTo>
                  <a:pt x="10987" y="21507"/>
                  <a:pt x="13209" y="21001"/>
                  <a:pt x="15085" y="19883"/>
                </a:cubicBezTo>
                <a:lnTo>
                  <a:pt x="17685" y="21250"/>
                </a:lnTo>
                <a:lnTo>
                  <a:pt x="17163" y="18244"/>
                </a:lnTo>
                <a:cubicBezTo>
                  <a:pt x="18709" y="16662"/>
                  <a:pt x="19795" y="14560"/>
                  <a:pt x="20123" y="12142"/>
                </a:cubicBezTo>
                <a:cubicBezTo>
                  <a:pt x="20913" y="6328"/>
                  <a:pt x="17071" y="939"/>
                  <a:pt x="11543" y="108"/>
                </a:cubicBezTo>
                <a:cubicBezTo>
                  <a:pt x="11197" y="56"/>
                  <a:pt x="10853" y="24"/>
                  <a:pt x="10512" y="9"/>
                </a:cubicBezTo>
                <a:close/>
                <a:moveTo>
                  <a:pt x="10418" y="2516"/>
                </a:moveTo>
                <a:cubicBezTo>
                  <a:pt x="10679" y="2527"/>
                  <a:pt x="10942" y="2555"/>
                  <a:pt x="11206" y="2594"/>
                </a:cubicBezTo>
                <a:cubicBezTo>
                  <a:pt x="15430" y="3229"/>
                  <a:pt x="18366" y="7342"/>
                  <a:pt x="17763" y="11784"/>
                </a:cubicBezTo>
                <a:cubicBezTo>
                  <a:pt x="17159" y="16226"/>
                  <a:pt x="13244" y="19313"/>
                  <a:pt x="9020" y="18679"/>
                </a:cubicBezTo>
                <a:cubicBezTo>
                  <a:pt x="4796" y="18045"/>
                  <a:pt x="1863" y="13928"/>
                  <a:pt x="2467" y="9486"/>
                </a:cubicBezTo>
                <a:cubicBezTo>
                  <a:pt x="3032" y="5321"/>
                  <a:pt x="6505" y="2349"/>
                  <a:pt x="10418" y="251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31" name="AutoShape 34">
            <a:extLst>
              <a:ext uri="{FF2B5EF4-FFF2-40B4-BE49-F238E27FC236}">
                <a16:creationId xmlns:a16="http://schemas.microsoft.com/office/drawing/2014/main" id="{3C7B3518-1C03-4675-53DC-5A18CE460A04}"/>
              </a:ext>
            </a:extLst>
          </p:cNvPr>
          <p:cNvSpPr>
            <a:spLocks/>
          </p:cNvSpPr>
          <p:nvPr/>
        </p:nvSpPr>
        <p:spPr bwMode="auto">
          <a:xfrm rot="10800000">
            <a:off x="8142400" y="1385252"/>
            <a:ext cx="1330559" cy="1218748"/>
          </a:xfrm>
          <a:custGeom>
            <a:avLst/>
            <a:gdLst>
              <a:gd name="T0" fmla="+- 0 10943 286"/>
              <a:gd name="T1" fmla="*/ T0 w 21314"/>
              <a:gd name="T2" fmla="+- 0 10114 50"/>
              <a:gd name="T3" fmla="*/ 10114 h 20129"/>
              <a:gd name="T4" fmla="+- 0 10943 286"/>
              <a:gd name="T5" fmla="*/ T4 w 21314"/>
              <a:gd name="T6" fmla="+- 0 10114 50"/>
              <a:gd name="T7" fmla="*/ 10114 h 20129"/>
              <a:gd name="T8" fmla="+- 0 10943 286"/>
              <a:gd name="T9" fmla="*/ T8 w 21314"/>
              <a:gd name="T10" fmla="+- 0 10114 50"/>
              <a:gd name="T11" fmla="*/ 10114 h 20129"/>
              <a:gd name="T12" fmla="+- 0 10943 286"/>
              <a:gd name="T13" fmla="*/ T12 w 21314"/>
              <a:gd name="T14" fmla="+- 0 10114 50"/>
              <a:gd name="T15" fmla="*/ 10114 h 2012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21314" h="20129">
                <a:moveTo>
                  <a:pt x="10091" y="6"/>
                </a:moveTo>
                <a:cubicBezTo>
                  <a:pt x="8517" y="-50"/>
                  <a:pt x="6911" y="286"/>
                  <a:pt x="5404" y="1062"/>
                </a:cubicBezTo>
                <a:cubicBezTo>
                  <a:pt x="2992" y="2303"/>
                  <a:pt x="1297" y="4433"/>
                  <a:pt x="505" y="6876"/>
                </a:cubicBezTo>
                <a:cubicBezTo>
                  <a:pt x="-286" y="9319"/>
                  <a:pt x="-175" y="12074"/>
                  <a:pt x="1029" y="14560"/>
                </a:cubicBezTo>
                <a:cubicBezTo>
                  <a:pt x="3436" y="19532"/>
                  <a:pt x="9302" y="21550"/>
                  <a:pt x="14124" y="19068"/>
                </a:cubicBezTo>
                <a:cubicBezTo>
                  <a:pt x="16130" y="18035"/>
                  <a:pt x="17628" y="16381"/>
                  <a:pt x="18535" y="14450"/>
                </a:cubicBezTo>
                <a:lnTo>
                  <a:pt x="21314" y="14041"/>
                </a:lnTo>
                <a:lnTo>
                  <a:pt x="19331" y="11997"/>
                </a:lnTo>
                <a:cubicBezTo>
                  <a:pt x="19733" y="9891"/>
                  <a:pt x="19498" y="7641"/>
                  <a:pt x="18496" y="5572"/>
                </a:cubicBezTo>
                <a:cubicBezTo>
                  <a:pt x="16841" y="2154"/>
                  <a:pt x="13551" y="130"/>
                  <a:pt x="10091" y="6"/>
                </a:cubicBezTo>
                <a:close/>
                <a:moveTo>
                  <a:pt x="10013" y="2379"/>
                </a:moveTo>
                <a:cubicBezTo>
                  <a:pt x="12656" y="2473"/>
                  <a:pt x="15171" y="4020"/>
                  <a:pt x="16435" y="6631"/>
                </a:cubicBezTo>
                <a:cubicBezTo>
                  <a:pt x="18275" y="10430"/>
                  <a:pt x="16778" y="15046"/>
                  <a:pt x="13094" y="16943"/>
                </a:cubicBezTo>
                <a:cubicBezTo>
                  <a:pt x="9409" y="18840"/>
                  <a:pt x="4929" y="17297"/>
                  <a:pt x="3089" y="13498"/>
                </a:cubicBezTo>
                <a:cubicBezTo>
                  <a:pt x="1250" y="9699"/>
                  <a:pt x="2746" y="5083"/>
                  <a:pt x="6431" y="3186"/>
                </a:cubicBezTo>
                <a:cubicBezTo>
                  <a:pt x="7582" y="2594"/>
                  <a:pt x="8811" y="2336"/>
                  <a:pt x="10013" y="237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32" name="AutoShape 35">
            <a:extLst>
              <a:ext uri="{FF2B5EF4-FFF2-40B4-BE49-F238E27FC236}">
                <a16:creationId xmlns:a16="http://schemas.microsoft.com/office/drawing/2014/main" id="{07C1BAA5-50F0-2ADF-7D2D-4F0A91C498B2}"/>
              </a:ext>
            </a:extLst>
          </p:cNvPr>
          <p:cNvSpPr>
            <a:spLocks/>
          </p:cNvSpPr>
          <p:nvPr/>
        </p:nvSpPr>
        <p:spPr bwMode="auto">
          <a:xfrm rot="10800000">
            <a:off x="2721576" y="1385378"/>
            <a:ext cx="1331665" cy="1218731"/>
          </a:xfrm>
          <a:custGeom>
            <a:avLst/>
            <a:gdLst>
              <a:gd name="T0" fmla="*/ 10655 w 21311"/>
              <a:gd name="T1" fmla="+- 0 10110 44"/>
              <a:gd name="T2" fmla="*/ 10110 h 20133"/>
              <a:gd name="T3" fmla="*/ 10655 w 21311"/>
              <a:gd name="T4" fmla="+- 0 10110 44"/>
              <a:gd name="T5" fmla="*/ 10110 h 20133"/>
              <a:gd name="T6" fmla="*/ 10655 w 21311"/>
              <a:gd name="T7" fmla="+- 0 10110 44"/>
              <a:gd name="T8" fmla="*/ 10110 h 20133"/>
              <a:gd name="T9" fmla="*/ 10655 w 21311"/>
              <a:gd name="T10" fmla="+- 0 10110 44"/>
              <a:gd name="T11" fmla="*/ 10110 h 20133"/>
            </a:gdLst>
            <a:ahLst/>
            <a:cxnLst>
              <a:cxn ang="0">
                <a:pos x="T0" y="T2"/>
              </a:cxn>
              <a:cxn ang="0">
                <a:pos x="T3" y="T5"/>
              </a:cxn>
              <a:cxn ang="0">
                <a:pos x="T6" y="T8"/>
              </a:cxn>
              <a:cxn ang="0">
                <a:pos x="T9" y="T11"/>
              </a:cxn>
            </a:cxnLst>
            <a:rect l="0" t="0" r="r" b="b"/>
            <a:pathLst>
              <a:path w="21311" h="20133">
                <a:moveTo>
                  <a:pt x="11277" y="4"/>
                </a:moveTo>
                <a:cubicBezTo>
                  <a:pt x="7820" y="111"/>
                  <a:pt x="4524" y="2117"/>
                  <a:pt x="2854" y="5528"/>
                </a:cubicBezTo>
                <a:cubicBezTo>
                  <a:pt x="1844" y="7592"/>
                  <a:pt x="1599" y="9842"/>
                  <a:pt x="1991" y="11950"/>
                </a:cubicBezTo>
                <a:lnTo>
                  <a:pt x="0" y="13988"/>
                </a:lnTo>
                <a:lnTo>
                  <a:pt x="2773" y="14410"/>
                </a:lnTo>
                <a:cubicBezTo>
                  <a:pt x="3670" y="16347"/>
                  <a:pt x="5161" y="18007"/>
                  <a:pt x="7160" y="19049"/>
                </a:cubicBezTo>
                <a:cubicBezTo>
                  <a:pt x="11966" y="21556"/>
                  <a:pt x="17834" y="19566"/>
                  <a:pt x="20262" y="14605"/>
                </a:cubicBezTo>
                <a:cubicBezTo>
                  <a:pt x="21477" y="12124"/>
                  <a:pt x="21600" y="9373"/>
                  <a:pt x="20821" y="6926"/>
                </a:cubicBezTo>
                <a:cubicBezTo>
                  <a:pt x="20042" y="4479"/>
                  <a:pt x="18360" y="2337"/>
                  <a:pt x="15957" y="1084"/>
                </a:cubicBezTo>
                <a:cubicBezTo>
                  <a:pt x="14455" y="300"/>
                  <a:pt x="12849" y="-44"/>
                  <a:pt x="11277" y="4"/>
                </a:cubicBezTo>
                <a:close/>
                <a:moveTo>
                  <a:pt x="11342" y="2381"/>
                </a:moveTo>
                <a:cubicBezTo>
                  <a:pt x="12543" y="2344"/>
                  <a:pt x="13770" y="2607"/>
                  <a:pt x="14917" y="3205"/>
                </a:cubicBezTo>
                <a:cubicBezTo>
                  <a:pt x="18590" y="5121"/>
                  <a:pt x="20062" y="9745"/>
                  <a:pt x="18207" y="13536"/>
                </a:cubicBezTo>
                <a:cubicBezTo>
                  <a:pt x="16352" y="17326"/>
                  <a:pt x="11871" y="18846"/>
                  <a:pt x="8199" y="16931"/>
                </a:cubicBezTo>
                <a:cubicBezTo>
                  <a:pt x="4527" y="15016"/>
                  <a:pt x="3054" y="10391"/>
                  <a:pt x="4910" y="6601"/>
                </a:cubicBezTo>
                <a:cubicBezTo>
                  <a:pt x="6185" y="3995"/>
                  <a:pt x="8701" y="2462"/>
                  <a:pt x="11342" y="238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33" name="Text Box 36">
            <a:extLst>
              <a:ext uri="{FF2B5EF4-FFF2-40B4-BE49-F238E27FC236}">
                <a16:creationId xmlns:a16="http://schemas.microsoft.com/office/drawing/2014/main" id="{BB51A602-8438-E5DE-65E5-BC6F38EABCFC}"/>
              </a:ext>
            </a:extLst>
          </p:cNvPr>
          <p:cNvSpPr txBox="1">
            <a:spLocks/>
          </p:cNvSpPr>
          <p:nvPr/>
        </p:nvSpPr>
        <p:spPr bwMode="auto">
          <a:xfrm>
            <a:off x="8293973" y="1604776"/>
            <a:ext cx="1130380" cy="779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>
            <a:spAutoFit/>
          </a:bodyPr>
          <a:lstStyle/>
          <a:p>
            <a:pPr algn="ctr"/>
            <a:r>
              <a:rPr lang="en-US" altLang="en-US" sz="4400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5</a:t>
            </a:r>
          </a:p>
        </p:txBody>
      </p:sp>
      <p:sp>
        <p:nvSpPr>
          <p:cNvPr id="34" name="Text Box 37">
            <a:extLst>
              <a:ext uri="{FF2B5EF4-FFF2-40B4-BE49-F238E27FC236}">
                <a16:creationId xmlns:a16="http://schemas.microsoft.com/office/drawing/2014/main" id="{535053B8-13ED-1749-1299-728B2048FE44}"/>
              </a:ext>
            </a:extLst>
          </p:cNvPr>
          <p:cNvSpPr txBox="1">
            <a:spLocks/>
          </p:cNvSpPr>
          <p:nvPr/>
        </p:nvSpPr>
        <p:spPr bwMode="auto">
          <a:xfrm>
            <a:off x="2776767" y="1609105"/>
            <a:ext cx="1130380" cy="779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>
            <a:spAutoFit/>
          </a:bodyPr>
          <a:lstStyle/>
          <a:p>
            <a:pPr algn="ctr"/>
            <a:r>
              <a:rPr lang="en-US" altLang="en-US" sz="4400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sp>
        <p:nvSpPr>
          <p:cNvPr id="35" name="Text Box 38">
            <a:extLst>
              <a:ext uri="{FF2B5EF4-FFF2-40B4-BE49-F238E27FC236}">
                <a16:creationId xmlns:a16="http://schemas.microsoft.com/office/drawing/2014/main" id="{0D11AE4B-75DD-47A3-4CB0-C2BA87AE9123}"/>
              </a:ext>
            </a:extLst>
          </p:cNvPr>
          <p:cNvSpPr txBox="1">
            <a:spLocks/>
          </p:cNvSpPr>
          <p:nvPr/>
        </p:nvSpPr>
        <p:spPr bwMode="auto">
          <a:xfrm>
            <a:off x="3828527" y="3051797"/>
            <a:ext cx="1130380" cy="779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>
            <a:spAutoFit/>
          </a:bodyPr>
          <a:lstStyle/>
          <a:p>
            <a:pPr algn="ctr"/>
            <a:r>
              <a:rPr lang="en-US" altLang="en-US" sz="4400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</a:p>
        </p:txBody>
      </p:sp>
      <p:sp>
        <p:nvSpPr>
          <p:cNvPr id="36" name="Text Box 39">
            <a:extLst>
              <a:ext uri="{FF2B5EF4-FFF2-40B4-BE49-F238E27FC236}">
                <a16:creationId xmlns:a16="http://schemas.microsoft.com/office/drawing/2014/main" id="{7B54A838-D775-3D8F-098E-F84C040E9055}"/>
              </a:ext>
            </a:extLst>
          </p:cNvPr>
          <p:cNvSpPr txBox="1">
            <a:spLocks/>
          </p:cNvSpPr>
          <p:nvPr/>
        </p:nvSpPr>
        <p:spPr bwMode="auto">
          <a:xfrm>
            <a:off x="7239675" y="3043761"/>
            <a:ext cx="1130380" cy="779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>
            <a:spAutoFit/>
          </a:bodyPr>
          <a:lstStyle/>
          <a:p>
            <a:pPr algn="ctr"/>
            <a:r>
              <a:rPr lang="en-US" altLang="en-US" sz="4400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4</a:t>
            </a:r>
          </a:p>
        </p:txBody>
      </p:sp>
      <p:sp>
        <p:nvSpPr>
          <p:cNvPr id="37" name="Text Box 40">
            <a:extLst>
              <a:ext uri="{FF2B5EF4-FFF2-40B4-BE49-F238E27FC236}">
                <a16:creationId xmlns:a16="http://schemas.microsoft.com/office/drawing/2014/main" id="{96FF9A94-2357-39F5-BE68-972DAC93AD6F}"/>
              </a:ext>
            </a:extLst>
          </p:cNvPr>
          <p:cNvSpPr txBox="1">
            <a:spLocks/>
          </p:cNvSpPr>
          <p:nvPr/>
        </p:nvSpPr>
        <p:spPr bwMode="auto">
          <a:xfrm>
            <a:off x="5538620" y="3610635"/>
            <a:ext cx="1130380" cy="779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>
            <a:spAutoFit/>
          </a:bodyPr>
          <a:lstStyle/>
          <a:p>
            <a:pPr algn="ctr"/>
            <a:r>
              <a:rPr lang="en-US" altLang="en-US" sz="4400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924C763-D89C-E6C8-7C01-06FC9A572726}"/>
              </a:ext>
            </a:extLst>
          </p:cNvPr>
          <p:cNvSpPr txBox="1"/>
          <p:nvPr/>
        </p:nvSpPr>
        <p:spPr>
          <a:xfrm>
            <a:off x="9624531" y="1955534"/>
            <a:ext cx="23974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51841AF-9385-EAEC-6FB7-96C5CD224AD8}"/>
              </a:ext>
            </a:extLst>
          </p:cNvPr>
          <p:cNvSpPr/>
          <p:nvPr/>
        </p:nvSpPr>
        <p:spPr>
          <a:xfrm>
            <a:off x="9624531" y="1623690"/>
            <a:ext cx="152408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rPr>
              <a:t>Head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21912F5-ACA9-B63B-C77D-2DEAF37E3F13}"/>
              </a:ext>
            </a:extLst>
          </p:cNvPr>
          <p:cNvSpPr txBox="1"/>
          <p:nvPr/>
        </p:nvSpPr>
        <p:spPr>
          <a:xfrm flipH="1">
            <a:off x="169986" y="1955534"/>
            <a:ext cx="24000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EBB3BCD-11F0-84A1-A885-B06CFF06CB01}"/>
              </a:ext>
            </a:extLst>
          </p:cNvPr>
          <p:cNvSpPr/>
          <p:nvPr/>
        </p:nvSpPr>
        <p:spPr>
          <a:xfrm flipH="1">
            <a:off x="1045917" y="1623690"/>
            <a:ext cx="152408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rPr>
              <a:t>Head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880EA32-4815-13FD-743D-9A2746ACF4BD}"/>
              </a:ext>
            </a:extLst>
          </p:cNvPr>
          <p:cNvSpPr txBox="1"/>
          <p:nvPr/>
        </p:nvSpPr>
        <p:spPr>
          <a:xfrm>
            <a:off x="8565999" y="3342728"/>
            <a:ext cx="23974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C13F969-F28B-932B-1B2C-7F832A6A4375}"/>
              </a:ext>
            </a:extLst>
          </p:cNvPr>
          <p:cNvSpPr/>
          <p:nvPr/>
        </p:nvSpPr>
        <p:spPr>
          <a:xfrm>
            <a:off x="8565999" y="3010884"/>
            <a:ext cx="19843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rPr>
              <a:t>Head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9952B5F-75C0-9BBA-38E8-E82468EE500F}"/>
              </a:ext>
            </a:extLst>
          </p:cNvPr>
          <p:cNvSpPr txBox="1"/>
          <p:nvPr/>
        </p:nvSpPr>
        <p:spPr>
          <a:xfrm flipH="1">
            <a:off x="1241377" y="3342728"/>
            <a:ext cx="23974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EBB8385-19E3-EFBD-0EDC-02A96C372C90}"/>
              </a:ext>
            </a:extLst>
          </p:cNvPr>
          <p:cNvSpPr/>
          <p:nvPr/>
        </p:nvSpPr>
        <p:spPr>
          <a:xfrm flipH="1">
            <a:off x="2114775" y="3010884"/>
            <a:ext cx="152408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rPr>
              <a:t>Head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B0E9680-A8DE-C741-2E9C-7807F7913BE0}"/>
              </a:ext>
            </a:extLst>
          </p:cNvPr>
          <p:cNvSpPr txBox="1"/>
          <p:nvPr/>
        </p:nvSpPr>
        <p:spPr>
          <a:xfrm>
            <a:off x="4905067" y="5047889"/>
            <a:ext cx="23974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EE9F84E-6588-75A6-1673-8FD97885A09A}"/>
              </a:ext>
            </a:extLst>
          </p:cNvPr>
          <p:cNvSpPr/>
          <p:nvPr/>
        </p:nvSpPr>
        <p:spPr>
          <a:xfrm>
            <a:off x="5111655" y="4716045"/>
            <a:ext cx="19843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rPr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5388049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4</TotalTime>
  <Words>57</Words>
  <Application>Microsoft Office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Lato Light</vt:lpstr>
      <vt:lpstr>Roboto</vt:lpstr>
      <vt:lpstr>Wingdings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50</cp:revision>
  <dcterms:created xsi:type="dcterms:W3CDTF">2021-03-31T02:49:57Z</dcterms:created>
  <dcterms:modified xsi:type="dcterms:W3CDTF">2025-10-16T11:39:06Z</dcterms:modified>
  <cp:category/>
</cp:coreProperties>
</file>